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328" r:id="rId2"/>
    <p:sldId id="339" r:id="rId3"/>
    <p:sldId id="332" r:id="rId4"/>
    <p:sldId id="337" r:id="rId5"/>
    <p:sldId id="340" r:id="rId6"/>
  </p:sldIdLst>
  <p:sldSz cx="12192000" cy="6858000"/>
  <p:notesSz cx="6797675" cy="99282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664" autoAdjust="0"/>
    <p:restoredTop sz="92578" autoAdjust="0"/>
  </p:normalViewPr>
  <p:slideViewPr>
    <p:cSldViewPr snapToGrid="0">
      <p:cViewPr>
        <p:scale>
          <a:sx n="80" d="100"/>
          <a:sy n="80" d="100"/>
        </p:scale>
        <p:origin x="492" y="-4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5-02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-180975" y="835025"/>
            <a:ext cx="7402513" cy="41656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D82B77-8D35-43CB-A246-DEDF706A7613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465326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D82B77-8D35-43CB-A246-DEDF706A7613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80728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5-02-11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istik.incanet.se/sverekks/startsida_sverekks.html" TargetMode="Externa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7951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Cancer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5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: 2025- 01-29</a:t>
            </a: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233128"/>
              </p:ext>
            </p:extLst>
          </p:nvPr>
        </p:nvGraphicFramePr>
        <p:xfrm>
          <a:off x="100484" y="92599"/>
          <a:ext cx="12007780" cy="553484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376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98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7580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758835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85109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970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40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Remissvar – Cancerstrategin Bättre tillsammans”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dirty="0">
                        <a:solidFill>
                          <a:schemeClr val="dk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algn="l" defTabSz="1219170" rtl="0" eaLnBrk="1" latinLnBrk="0" hangingPunct="1"/>
                      <a:endParaRPr lang="sv-SE" sz="12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missvar RPO Cance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är nya cancerstrategin presenteras bestäms prioriterade områden att fokusera på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rs 2025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867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1" baseline="0" dirty="0">
                          <a:latin typeface="+mj-lt"/>
                        </a:rPr>
                        <a:t>Statens stimulansbidrag för </a:t>
                      </a:r>
                    </a:p>
                    <a:p>
                      <a:r>
                        <a:rPr lang="sv-SE" sz="1200" b="1" baseline="0" dirty="0">
                          <a:latin typeface="+mj-lt"/>
                        </a:rPr>
                        <a:t>förbättrad tillgänglighet inom bilddiagnostik och patologi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aseline="0" dirty="0">
                          <a:latin typeface="+mj-lt"/>
                        </a:rPr>
                        <a:t>Främja tillgängligheten inom bilddiagnostiken och patologin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aseline="0" dirty="0">
                          <a:latin typeface="+mj-lt"/>
                        </a:rPr>
                        <a:t>Högre måluppfyllelse av det nationella ledtidsmålet för SVF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dömning av beviljande av medel</a:t>
                      </a:r>
                    </a:p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sked till sökande</a:t>
                      </a:r>
                    </a:p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ppföljning av projekten</a:t>
                      </a:r>
                    </a:p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v. ny extra ansökningsomgå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latin typeface="+mj-lt"/>
                        </a:rPr>
                        <a:t>Ansökan 17 feb </a:t>
                      </a:r>
                    </a:p>
                    <a:p>
                      <a:r>
                        <a:rPr lang="sv-SE" sz="1200" dirty="0">
                          <a:latin typeface="+mj-lt"/>
                        </a:rPr>
                        <a:t>Beslut i början av mars</a:t>
                      </a:r>
                    </a:p>
                    <a:p>
                      <a:r>
                        <a:rPr lang="sv-SE" sz="1200" dirty="0">
                          <a:latin typeface="+mj-lt"/>
                        </a:rPr>
                        <a:t> Nat. rapportering delrapport 1 </a:t>
                      </a:r>
                      <a:r>
                        <a:rPr lang="sv-SE" sz="1200" dirty="0" err="1">
                          <a:latin typeface="+mj-lt"/>
                        </a:rPr>
                        <a:t>sept</a:t>
                      </a:r>
                      <a:r>
                        <a:rPr lang="sv-SE" sz="1200" dirty="0">
                          <a:latin typeface="+mj-lt"/>
                        </a:rPr>
                        <a:t> </a:t>
                      </a:r>
                    </a:p>
                    <a:p>
                      <a:r>
                        <a:rPr lang="sv-SE" sz="1200" dirty="0">
                          <a:latin typeface="+mj-lt"/>
                        </a:rPr>
                        <a:t>Slutrapport 15nov? </a:t>
                      </a:r>
                    </a:p>
                    <a:p>
                      <a:r>
                        <a:rPr lang="sv-SE" sz="1200" dirty="0">
                          <a:latin typeface="+mj-lt"/>
                        </a:rPr>
                        <a:t>Inskickad till </a:t>
                      </a:r>
                      <a:r>
                        <a:rPr lang="sv-SE" sz="1200" dirty="0" err="1">
                          <a:latin typeface="+mj-lt"/>
                        </a:rPr>
                        <a:t>Soc</a:t>
                      </a:r>
                      <a:r>
                        <a:rPr lang="sv-SE" sz="1200" dirty="0">
                          <a:latin typeface="+mj-lt"/>
                        </a:rPr>
                        <a:t> 15 dec?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532381"/>
                  </a:ext>
                </a:extLst>
              </a:tr>
              <a:tr h="19895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tatens stimulansbidrag fö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tt stärka cancerrehabilitering och palliativ vår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för barn och vuxna</a:t>
                      </a:r>
                    </a:p>
                    <a:p>
                      <a:endParaRPr lang="sv-SE" sz="12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dirty="0">
                          <a:solidFill>
                            <a:srgbClr val="212529"/>
                          </a:solidFill>
                          <a:effectLst/>
                          <a:latin typeface="+mj-lt"/>
                        </a:rPr>
                        <a:t>Implementering av de nationella vårdprogrammen för cancerrehabilitering och palliativ vård för barn och vuxna.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dirty="0">
                          <a:solidFill>
                            <a:srgbClr val="212529"/>
                          </a:solidFill>
                          <a:effectLst/>
                          <a:latin typeface="+mj-lt"/>
                        </a:rPr>
                        <a:t>Stärka uppföljningen av cancerrehabiliteringen. 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dirty="0">
                          <a:solidFill>
                            <a:srgbClr val="212529"/>
                          </a:solidFill>
                          <a:effectLst/>
                          <a:latin typeface="+mj-lt"/>
                        </a:rPr>
                        <a:t>S</a:t>
                      </a:r>
                      <a:r>
                        <a:rPr lang="sv-SE" sz="1200" b="0" i="0" kern="1200" dirty="0">
                          <a:solidFill>
                            <a:srgbClr val="212529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ärka </a:t>
                      </a:r>
                      <a:r>
                        <a:rPr lang="sv-SE" sz="1200" b="0" i="0" kern="1200" dirty="0" err="1">
                          <a:solidFill>
                            <a:srgbClr val="212529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neffekts</a:t>
                      </a:r>
                      <a:r>
                        <a:rPr lang="sv-SE" sz="1200" b="0" i="0" kern="1200" dirty="0">
                          <a:solidFill>
                            <a:srgbClr val="212529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uppföljningen &amp; aktiva överlämningar mellan barn  och vuxencancervården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  <a:endParaRPr lang="sv-SE" sz="1200" b="1" kern="1200" baseline="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dömning av beviljande av medel</a:t>
                      </a:r>
                    </a:p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sked till sökande</a:t>
                      </a:r>
                    </a:p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ppföljning av projekten</a:t>
                      </a:r>
                    </a:p>
                    <a:p>
                      <a:pPr marL="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v. ny extra ansökningsomgång</a:t>
                      </a: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nsökan 17 feb </a:t>
                      </a:r>
                    </a:p>
                    <a:p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slut  i början av mars</a:t>
                      </a:r>
                    </a:p>
                    <a:p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t rapportering delrapport 1 </a:t>
                      </a:r>
                      <a:r>
                        <a:rPr lang="sv-SE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ept</a:t>
                      </a: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lutrapport 15nov? </a:t>
                      </a:r>
                    </a:p>
                    <a:p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skickad till </a:t>
                      </a:r>
                      <a:r>
                        <a:rPr lang="sv-SE" sz="12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oc</a:t>
                      </a: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15 dec?</a:t>
                      </a: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55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Gothic" panose="020B0609070205080204" pitchFamily="49" charset="-128"/>
                          <a:cs typeface="Times New Roman" panose="02020603050405020304" pitchFamily="18" charset="0"/>
                        </a:rPr>
                        <a:t>Prevention och tidig upptäck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171450" marR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MS Gothic" panose="020B0609070205080204" pitchFamily="49" charset="-128"/>
                          <a:cs typeface="Times New Roman" panose="02020603050405020304" pitchFamily="18" charset="0"/>
                        </a:rPr>
                        <a:t>Bidra till att öka andelen cancerfall (hud) som upptäcks i tidigt stadium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prida nationellt utbildningsmaterial om tidig upptäckt av hudcancer hos äldre riktat till omvårdnadspersonal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Q1 2025- spridning till  alla kommuner i SÖSR</a:t>
                      </a:r>
                    </a:p>
                    <a:p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ppföljning av användande av utbild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0984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585961"/>
              </p:ext>
            </p:extLst>
          </p:nvPr>
        </p:nvGraphicFramePr>
        <p:xfrm>
          <a:off x="91660" y="69272"/>
          <a:ext cx="12100340" cy="609721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3527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8867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50753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837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6062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evention och tidig upptäck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cree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trota livmoderhalscanc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atch-</a:t>
                      </a:r>
                      <a:r>
                        <a:rPr lang="sv-SE" sz="1200" kern="1200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p</a:t>
                      </a: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vaccination + screening av HPV för kvinnor födda1994-1999 (nationell studie)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tötta RÖ + RJL i komma upp till 70 % täckningsgrad</a:t>
                      </a:r>
                    </a:p>
                    <a:p>
                      <a:pPr marL="171450" lvl="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elta i nationella informationskampanjer för stötta regioner</a:t>
                      </a:r>
                    </a:p>
                    <a:p>
                      <a:pPr marL="171450" lvl="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elta i nationella forum och styrgrupp</a:t>
                      </a:r>
                    </a:p>
                    <a:p>
                      <a:pPr marL="171450" lvl="0" indent="-1714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Genomföra dos 2</a:t>
                      </a:r>
                    </a:p>
                    <a:p>
                      <a:pPr marL="19050">
                        <a:spcAft>
                          <a:spcPts val="0"/>
                        </a:spcAft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61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5-06 Mål  70% deltagande i hela SÖSR</a:t>
                      </a:r>
                    </a:p>
                    <a:p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5-2026</a:t>
                      </a:r>
                    </a:p>
                    <a:p>
                      <a:r>
                        <a:rPr lang="sv-SE" sz="1200" i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rslagsvis uppföljning varje möte våren 2025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RÖ 48,3%</a:t>
                      </a:r>
                    </a:p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JL 56,8%</a:t>
                      </a:r>
                    </a:p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KL 72,8%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244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evention och tidig upptäck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cree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P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rmcancer?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ungcancer?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Nationella kallelsekanslier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nsatser för </a:t>
                      </a:r>
                      <a:r>
                        <a:rPr lang="sv-SE" sz="1200" b="0" i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ociekonomiskt</a:t>
                      </a: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utsatta grupp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Jkpg: Förslag på struktur för gemensamt OPT kansli, struktur och finansiering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mplementering och uppföljning i RÖ + RK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tvidga införande i RÖ+ RKL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PT: Antal % som deltar, antal upptäckta cancrar, uppföljning OPT projektet</a:t>
                      </a:r>
                    </a:p>
                    <a:p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  <a:hlinkClick r:id="rId2"/>
                        </a:rPr>
                        <a:t>Tarmcancerscreening:</a:t>
                      </a:r>
                      <a:endParaRPr lang="sv-SE" sz="12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ntal Endoskopi, koloskopi%, cancerdetektion</a:t>
                      </a:r>
                      <a:b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cancer bevaka studi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97108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ncerrehabiliter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förande av Min vårdplan, digitalt via 1177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dömning av rehabiliteringsbehov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mplementering av MVP i nya diagnoser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tödja användning av MVP på flera cancerkliniker i hela patientens process.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 fram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ehabguide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i respektive region och vid behov klinikspecifik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ntal startade MVP, vilka diagnoser där MVP används Resultatredovisningen (maj -25)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8065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ncerrehabiliter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mplementering av vårdprogramme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121917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prida framtagna utbildningar och filmer om arbete med cancerrehabilitering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tbildningsdagar/Nätverksträffar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ppbyggnad av särskilda nätverksträffar för till ex. lymfterapeuter med flera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vstämning med RCC Styrgrupp enligt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årshjul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ärdomar från beviljade stimulansprojek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1416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9566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1979179"/>
              </p:ext>
            </p:extLst>
          </p:nvPr>
        </p:nvGraphicFramePr>
        <p:xfrm>
          <a:off x="0" y="0"/>
          <a:ext cx="12151807" cy="618744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2944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2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4116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24858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908813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295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lliativ vård</a:t>
                      </a:r>
                    </a:p>
                    <a:p>
                      <a:endParaRPr lang="sv-SE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lla cancerpatienter i livets slutskede ska få lika god palliativ vård oavsett bostadsort</a:t>
                      </a:r>
                    </a:p>
                    <a:p>
                      <a:endParaRPr lang="sv-SE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amverkan  RPO Äldres hälsa : Nya arbetssätt med processledare i två regioner</a:t>
                      </a:r>
                      <a:endParaRPr lang="sv-SE" sz="1200" kern="120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mpetensutveckling genomförs genom konferensen "</a:t>
                      </a:r>
                      <a:r>
                        <a:rPr lang="sv-SE" sz="12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alliation</a:t>
                      </a: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Sydöst" och webbutbildningen "Lindring bortom boten"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örbättra tillgången till palliativ vård i hemmet för barn och ungdomar genom samverkan mellan vårdgivare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ept</a:t>
                      </a: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-25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y samverkansyta och arbetssät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atistik från Palliativ registre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jekt inom palliativ vård för barn, RPO Barn</a:t>
                      </a:r>
                    </a:p>
                    <a:p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4045">
                <a:tc>
                  <a:txBody>
                    <a:bodyPr/>
                    <a:lstStyle/>
                    <a:p>
                      <a:r>
                        <a:rPr lang="sv-SE" sz="1200" b="1" dirty="0">
                          <a:latin typeface="+mj-lt"/>
                        </a:rPr>
                        <a:t>Sammanhållna och effektiva vårdprocesser</a:t>
                      </a:r>
                    </a:p>
                    <a:p>
                      <a:endParaRPr lang="sv-SE" sz="1200" b="1" dirty="0">
                        <a:latin typeface="+mj-lt"/>
                      </a:endParaRPr>
                    </a:p>
                    <a:p>
                      <a:endParaRPr lang="sv-SE" sz="1200" b="1" dirty="0">
                        <a:latin typeface="+mj-lt"/>
                      </a:endParaRPr>
                    </a:p>
                    <a:p>
                      <a:endParaRPr lang="sv-SE" sz="1200" b="1" dirty="0">
                        <a:latin typeface="+mj-lt"/>
                      </a:endParaRPr>
                    </a:p>
                    <a:p>
                      <a:endParaRPr lang="sv-SE" sz="1200" b="1" dirty="0">
                        <a:latin typeface="+mj-lt"/>
                      </a:endParaRPr>
                    </a:p>
                    <a:p>
                      <a:endParaRPr lang="sv-SE" sz="1200" b="1" dirty="0">
                        <a:latin typeface="+mj-lt"/>
                      </a:endParaRPr>
                    </a:p>
                    <a:p>
                      <a:endParaRPr lang="sv-SE" sz="12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Ökat fokus på processarbete i sydös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tveckla arbetet i Urologiska processerna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ötta och följa upp uppbyggnad av regionala processteam + processledare</a:t>
                      </a:r>
                      <a:endParaRPr lang="sv-SE" sz="12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ödja regionerna att i utvalda SVF, identifiera systematiska hinder som leder till att väntetiderna överskrids med mer än 50% än den optimala ledtiden i SVF. 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ortsatt kvalitetssäkring av registrering i SVF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elbundet rapportera till KR, RSL och SVN om process resulta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ept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ppföljning av SVF ledtider, övrigt uppföljning via samlad Resultatredovisning (maj)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sökan i mars och återapportering i dec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662404"/>
                  </a:ext>
                </a:extLst>
              </a:tr>
              <a:tr h="7867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unskapsstyrning</a:t>
                      </a:r>
                      <a:endParaRPr lang="sv-SE" sz="12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Införande av Patientöversikt Cancer (IPÖ)</a:t>
                      </a:r>
                      <a:endParaRPr lang="sv-SE" sz="12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nderlätta personalens arbete, ge en översiktlig bild och främja patientinvolver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vstämning av användandet av IPÖ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lanom i hela SÖSR,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Ö Bröst ?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522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rålterapiregist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mmografiregist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riftsättning av Svenska strålterapiregistret i Sydöst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riftsättning av Mammografiregister i Sydös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mtag i RÖ. Ny version ( MIQA 3.0), följa upp förarbetet på strålenheten US inför drift star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lja upp arbete i RKL och RJL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mtag införandet i SÖRS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ppföljning av implementering tillsammans med sjukvårdsregionalgrupp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rfarenheter från Kalmar,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Jönköping 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Östergötland planerar starta…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790055"/>
              </p:ext>
            </p:extLst>
          </p:nvPr>
        </p:nvGraphicFramePr>
        <p:xfrm>
          <a:off x="10048" y="200967"/>
          <a:ext cx="12181952" cy="549319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343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2950"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3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dk1"/>
                          </a:solidFill>
                          <a:latin typeface="Arial"/>
                        </a:rPr>
                        <a:t>CPUA konsolider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onsolidering av CPUA enheter i land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lytt av CPUA för kvalitetsregister Melanom och Pankreas och GEP-NET till Jönköp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rinblåsa till Sy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tionell process, avstämning sep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662404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Kvalitetsregist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Vårddatasystem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Precisionsmedicin?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nsatser för ökad täckningsgrad i kvalitetsregister: Samverkan med kirurg- och medicinkliniker i SÖSR för att sprida goda exempel  och arbetssät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latin typeface="+mj-lt"/>
                        </a:rPr>
                        <a:t>Uppföljning via VIC-listan , (verksamheternas inrapportering till cancerregistret och berörda kvalitetsregister) </a:t>
                      </a:r>
                      <a:br>
                        <a:rPr lang="sv-SE" sz="1200" dirty="0">
                          <a:latin typeface="+mj-lt"/>
                        </a:rPr>
                      </a:br>
                      <a:r>
                        <a:rPr lang="sv-SE" sz="1200" dirty="0" err="1">
                          <a:latin typeface="+mj-lt"/>
                        </a:rPr>
                        <a:t>Sept</a:t>
                      </a:r>
                      <a:r>
                        <a:rPr lang="sv-SE" sz="1200" dirty="0">
                          <a:latin typeface="+mj-lt"/>
                        </a:rPr>
                        <a:t> -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52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arn och ung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arncanc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tödja Barnonkologin i RÖ i adekvat bemanning enligt uppdrag i överenskommelse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mplementering av vårdprogrammet för barncancerrehabilitering</a:t>
                      </a:r>
                      <a:endParaRPr lang="sv-SE" sz="12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imulansmedel för utvecklings-projekt inom barncancer i SÖRS.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ortsatt dialog med Uppföljningsmottagningen för unga vuxna </a:t>
                      </a:r>
                      <a:r>
                        <a:rPr lang="sv-SE" sz="12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v</a:t>
                      </a: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200" kern="120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atstsning</a:t>
                      </a:r>
                      <a:r>
                        <a:rPr lang="sv-SE" sz="12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å unga vuxna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0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0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0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0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cessledare och berörda bjuds in till RPO cancer i slutet av 20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352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82124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4804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05</TotalTime>
  <Words>888</Words>
  <Application>Microsoft Office PowerPoint</Application>
  <PresentationFormat>Bredbild</PresentationFormat>
  <Paragraphs>167</Paragraphs>
  <Slides>5</Slides>
  <Notes>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1" baseType="lpstr">
      <vt:lpstr>Arial</vt:lpstr>
      <vt:lpstr>Calibri</vt:lpstr>
      <vt:lpstr>Times New Roman</vt:lpstr>
      <vt:lpstr>Verdana</vt:lpstr>
      <vt:lpstr>1_Office-tema</vt:lpstr>
      <vt:lpstr>think-cell Slide</vt:lpstr>
      <vt:lpstr>RPO Cancer  Översiktlig handlingsplan för 2025  Uppdaterad: 2025- 01-29</vt:lpstr>
      <vt:lpstr>PowerPoint-presentation</vt:lpstr>
      <vt:lpstr>PowerPoint-presentation</vt:lpstr>
      <vt:lpstr>PowerPoint-presentation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Asketun Annika</cp:lastModifiedBy>
  <cp:revision>152</cp:revision>
  <cp:lastPrinted>2025-01-30T07:13:43Z</cp:lastPrinted>
  <dcterms:created xsi:type="dcterms:W3CDTF">2020-10-30T06:43:58Z</dcterms:created>
  <dcterms:modified xsi:type="dcterms:W3CDTF">2025-02-11T15:38:03Z</dcterms:modified>
</cp:coreProperties>
</file>